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6.xml" ContentType="application/vnd.openxmlformats-officedocument.presentationml.tags+xml"/>
  <Override PartName="/ppt/notesSlides/notesSlide1.xml" ContentType="application/vnd.openxmlformats-officedocument.presentationml.notesSlide+xml"/>
  <Override PartName="/ppt/tags/tag77.xml" ContentType="application/vnd.openxmlformats-officedocument.presentationml.tags+xml"/>
  <Override PartName="/ppt/notesSlides/notesSlide2.xml" ContentType="application/vnd.openxmlformats-officedocument.presentationml.notesSlide+xml"/>
  <Override PartName="/ppt/tags/tag78.xml" ContentType="application/vnd.openxmlformats-officedocument.presentationml.tags+xml"/>
  <Override PartName="/ppt/notesSlides/notesSlide3.xml" ContentType="application/vnd.openxmlformats-officedocument.presentationml.notesSlide+xml"/>
  <Override PartName="/ppt/tags/tag79.xml" ContentType="application/vnd.openxmlformats-officedocument.presentationml.tags+xml"/>
  <Override PartName="/ppt/notesSlides/notesSlide4.xml" ContentType="application/vnd.openxmlformats-officedocument.presentationml.notesSlide+xml"/>
  <Override PartName="/ppt/tags/tag80.xml" ContentType="application/vnd.openxmlformats-officedocument.presentationml.tags+xml"/>
  <Override PartName="/ppt/notesSlides/notesSlide5.xml" ContentType="application/vnd.openxmlformats-officedocument.presentationml.notesSlide+xml"/>
  <Override PartName="/ppt/tags/tag81.xml" ContentType="application/vnd.openxmlformats-officedocument.presentationml.tags+xml"/>
  <Override PartName="/ppt/notesSlides/notesSlide6.xml" ContentType="application/vnd.openxmlformats-officedocument.presentationml.notesSlide+xml"/>
  <Override PartName="/ppt/tags/tag82.xml" ContentType="application/vnd.openxmlformats-officedocument.presentationml.tags+xml"/>
  <Override PartName="/ppt/notesSlides/notesSlide7.xml" ContentType="application/vnd.openxmlformats-officedocument.presentationml.notesSlide+xml"/>
  <Override PartName="/ppt/tags/tag83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62" r:id="rId2"/>
    <p:sldId id="308" r:id="rId3"/>
    <p:sldId id="314" r:id="rId4"/>
    <p:sldId id="316" r:id="rId5"/>
    <p:sldId id="317" r:id="rId6"/>
    <p:sldId id="318" r:id="rId7"/>
    <p:sldId id="319" r:id="rId8"/>
    <p:sldId id="320" r:id="rId9"/>
  </p:sldIdLst>
  <p:sldSz cx="9144000" cy="6858000" type="screen4x3"/>
  <p:notesSz cx="6858000" cy="9144000"/>
  <p:custDataLst>
    <p:tags r:id="rId12"/>
  </p:custDataLst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8094"/>
    <a:srgbClr val="007C95"/>
    <a:srgbClr val="F8F8F8"/>
    <a:srgbClr val="E7EEFD"/>
    <a:srgbClr val="A3CBFB"/>
    <a:srgbClr val="9900CC"/>
    <a:srgbClr val="AED1FC"/>
    <a:srgbClr val="333333"/>
    <a:srgbClr val="EF6DB7"/>
    <a:srgbClr val="0A7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11" autoAdjust="0"/>
  </p:normalViewPr>
  <p:slideViewPr>
    <p:cSldViewPr snapToObjects="1">
      <p:cViewPr varScale="1">
        <p:scale>
          <a:sx n="80" d="100"/>
          <a:sy n="80" d="100"/>
        </p:scale>
        <p:origin x="84" y="426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notesViewPr>
    <p:cSldViewPr snapToObjects="1">
      <p:cViewPr varScale="1">
        <p:scale>
          <a:sx n="80" d="100"/>
          <a:sy n="80" d="100"/>
        </p:scale>
        <p:origin x="-19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A74371C0-ADA4-4DD1-99D1-CD3DC1907E3D}" type="datetimeFigureOut">
              <a:rPr lang="fr-CH"/>
              <a:pPr>
                <a:defRPr/>
              </a:pPr>
              <a:t>23.03.2021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DD4026F7-7C8C-4274-81B1-49A334510018}" type="slidenum">
              <a:rPr lang="fr-CH"/>
              <a:pPr>
                <a:defRPr/>
              </a:pPr>
              <a:t>‹N°›</a:t>
            </a:fld>
            <a:endParaRPr lang="fr-CH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F4475672-C676-411E-B96C-47A728D91EC5}" type="datetime1">
              <a:rPr lang="fr-CH"/>
              <a:pPr>
                <a:defRPr/>
              </a:pPr>
              <a:t>23.03.2021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noProof="0" dirty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noProof="0" smtClean="0"/>
              <a:t>Textmasterformate durch Klicken bearbeiten</a:t>
            </a:r>
          </a:p>
          <a:p>
            <a:pPr lvl="1"/>
            <a:r>
              <a:rPr lang="fr-CH" noProof="0" smtClean="0"/>
              <a:t>Zweite Ebene</a:t>
            </a:r>
          </a:p>
          <a:p>
            <a:pPr lvl="2"/>
            <a:r>
              <a:rPr lang="fr-CH" noProof="0" smtClean="0"/>
              <a:t>Dritte Ebene</a:t>
            </a:r>
          </a:p>
          <a:p>
            <a:pPr lvl="3"/>
            <a:r>
              <a:rPr lang="fr-CH" noProof="0" smtClean="0"/>
              <a:t>Vierte Ebene</a:t>
            </a:r>
          </a:p>
          <a:p>
            <a:pPr lvl="4"/>
            <a:r>
              <a:rPr lang="fr-CH" noProof="0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1C187D57-DF39-46FB-BA73-E066738108BC}" type="slidenum">
              <a:rPr lang="fr-CH"/>
              <a:pPr>
                <a:defRPr/>
              </a:pPr>
              <a:t>‹N°›</a:t>
            </a:fld>
            <a:endParaRPr lang="fr-CH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5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smtClean="0">
              <a:ea typeface="ＭＳ Ｐゴシック"/>
              <a:cs typeface="ＭＳ Ｐゴシック"/>
            </a:endParaRPr>
          </a:p>
        </p:txBody>
      </p:sp>
      <p:sp>
        <p:nvSpPr>
          <p:cNvPr id="74756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C89E493-E654-4055-ADCD-495C250085E1}" type="slidenum">
              <a:rPr lang="fr-CH" smtClean="0">
                <a:ea typeface="ＭＳ Ｐゴシック"/>
                <a:cs typeface="ＭＳ Ｐゴシック"/>
              </a:rPr>
              <a:pPr/>
              <a:t>1</a:t>
            </a:fld>
            <a:endParaRPr lang="fr-CH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 smtClean="0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2</a:t>
            </a:fld>
            <a:endParaRPr lang="fr-CH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566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 smtClean="0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3</a:t>
            </a:fld>
            <a:endParaRPr lang="fr-CH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5908785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 smtClean="0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4</a:t>
            </a:fld>
            <a:endParaRPr lang="fr-CH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884877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 smtClean="0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5</a:t>
            </a:fld>
            <a:endParaRPr lang="fr-CH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3226130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 smtClean="0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6</a:t>
            </a:fld>
            <a:endParaRPr lang="fr-CH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075665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 smtClean="0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7</a:t>
            </a:fld>
            <a:endParaRPr lang="fr-CH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1377895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 smtClean="0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8</a:t>
            </a:fld>
            <a:endParaRPr lang="fr-CH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1061178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45.xml"/><Relationship Id="rId7" Type="http://schemas.openxmlformats.org/officeDocument/2006/relationships/oleObject" Target="../embeddings/oleObject19.bin"/><Relationship Id="rId2" Type="http://schemas.openxmlformats.org/officeDocument/2006/relationships/tags" Target="../tags/tag44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oleObject" Target="../embeddings/oleObject20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49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oleObject" Target="../embeddings/oleObject2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53.xml"/><Relationship Id="rId7" Type="http://schemas.openxmlformats.org/officeDocument/2006/relationships/oleObject" Target="../embeddings/oleObject23.bin"/><Relationship Id="rId2" Type="http://schemas.openxmlformats.org/officeDocument/2006/relationships/tags" Target="../tags/tag52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oleObject" Target="../embeddings/oleObject2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5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56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oleObject" Target="../embeddings/oleObject26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1.xml"/><Relationship Id="rId7" Type="http://schemas.openxmlformats.org/officeDocument/2006/relationships/oleObject" Target="../embeddings/oleObject27.bin"/><Relationship Id="rId2" Type="http://schemas.openxmlformats.org/officeDocument/2006/relationships/tags" Target="../tags/tag60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9" Type="http://schemas.openxmlformats.org/officeDocument/2006/relationships/oleObject" Target="../embeddings/oleObject28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5.xml"/><Relationship Id="rId7" Type="http://schemas.openxmlformats.org/officeDocument/2006/relationships/oleObject" Target="../embeddings/oleObject29.bin"/><Relationship Id="rId2" Type="http://schemas.openxmlformats.org/officeDocument/2006/relationships/tags" Target="../tags/tag64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oleObject" Target="../embeddings/oleObject30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9.xml"/><Relationship Id="rId7" Type="http://schemas.openxmlformats.org/officeDocument/2006/relationships/oleObject" Target="../embeddings/oleObject31.bin"/><Relationship Id="rId2" Type="http://schemas.openxmlformats.org/officeDocument/2006/relationships/tags" Target="../tags/tag68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oleObject" Target="../embeddings/oleObject32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73.xml"/><Relationship Id="rId7" Type="http://schemas.openxmlformats.org/officeDocument/2006/relationships/oleObject" Target="../embeddings/oleObject33.bin"/><Relationship Id="rId2" Type="http://schemas.openxmlformats.org/officeDocument/2006/relationships/tags" Target="../tags/tag72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9" Type="http://schemas.openxmlformats.org/officeDocument/2006/relationships/oleObject" Target="../embeddings/oleObject34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7.xml"/><Relationship Id="rId7" Type="http://schemas.openxmlformats.org/officeDocument/2006/relationships/oleObject" Target="../embeddings/oleObject5.bin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1.xml"/><Relationship Id="rId7" Type="http://schemas.openxmlformats.org/officeDocument/2006/relationships/oleObject" Target="../embeddings/oleObject7.bin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oleObject" Target="../embeddings/oleObject10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9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oleObject" Target="../embeddings/oleObject1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33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oleObject" Target="../embeddings/oleObject14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37.xml"/><Relationship Id="rId7" Type="http://schemas.openxmlformats.org/officeDocument/2006/relationships/oleObject" Target="../embeddings/oleObject1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oleObject" Target="../embeddings/oleObject16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41.xml"/><Relationship Id="rId7" Type="http://schemas.openxmlformats.org/officeDocument/2006/relationships/oleObject" Target="../embeddings/oleObject17.bin"/><Relationship Id="rId2" Type="http://schemas.openxmlformats.org/officeDocument/2006/relationships/tags" Target="../tags/tag40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oleObject" Target="../embeddings/oleObject1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logo_etat_FR_vers_compacte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417513"/>
            <a:ext cx="1584325" cy="60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/>
          <p:nvPr userDrawn="1">
            <p:custDataLst>
              <p:tags r:id="rId3"/>
            </p:custDataLst>
          </p:nvPr>
        </p:nvSpPr>
        <p:spPr>
          <a:xfrm>
            <a:off x="2514600" y="363538"/>
            <a:ext cx="5164138" cy="34336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i="0" dirty="0" err="1" smtClean="0"/>
              <a:t>Amt</a:t>
            </a:r>
            <a:r>
              <a:rPr lang="fr-CH" sz="1000" b="1" i="0" dirty="0" smtClean="0"/>
              <a:t> der </a:t>
            </a:r>
            <a:r>
              <a:rPr lang="fr-CH" sz="1000" b="1" i="0" dirty="0" err="1" smtClean="0"/>
              <a:t>Beispiele</a:t>
            </a:r>
            <a:r>
              <a:rPr lang="fr-CH" sz="1000" b="0" i="0" dirty="0" smtClean="0"/>
              <a:t> </a:t>
            </a:r>
            <a:r>
              <a:rPr lang="fr-CH" sz="1000" b="0" i="0" dirty="0" err="1" smtClean="0"/>
              <a:t>AdB</a:t>
            </a:r>
            <a:endParaRPr lang="fr-CH" sz="1000" b="0" i="0" dirty="0" smtClean="0"/>
          </a:p>
        </p:txBody>
      </p:sp>
      <p:sp>
        <p:nvSpPr>
          <p:cNvPr id="7" name="TextBox 9"/>
          <p:cNvSpPr txBox="1"/>
          <p:nvPr userDrawn="1">
            <p:custDataLst>
              <p:tags r:id="rId4"/>
            </p:custDataLst>
          </p:nvPr>
        </p:nvSpPr>
        <p:spPr>
          <a:xfrm>
            <a:off x="468313" y="6148388"/>
            <a:ext cx="5354637" cy="49688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smtClean="0"/>
              <a:t>Direction des exemples et des questions</a:t>
            </a:r>
            <a:r>
              <a:rPr lang="fr-CH" sz="1000" b="1" dirty="0" smtClean="0"/>
              <a:t> DEQ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err="1" smtClean="0"/>
              <a:t>Direktion</a:t>
            </a:r>
            <a:r>
              <a:rPr lang="fr-CH" sz="1000" b="0" i="0" dirty="0" smtClean="0"/>
              <a:t> der </a:t>
            </a:r>
            <a:r>
              <a:rPr lang="fr-CH" sz="1000" b="0" i="0" dirty="0" err="1" smtClean="0"/>
              <a:t>Beispiele</a:t>
            </a:r>
            <a:r>
              <a:rPr lang="fr-CH" sz="1000" b="0" i="0" dirty="0" smtClean="0"/>
              <a:t> </a:t>
            </a:r>
            <a:r>
              <a:rPr lang="fr-CH" sz="1000" b="0" i="0" dirty="0" err="1" smtClean="0"/>
              <a:t>und</a:t>
            </a:r>
            <a:r>
              <a:rPr lang="fr-CH" sz="1000" b="0" i="0" dirty="0" smtClean="0"/>
              <a:t> </a:t>
            </a:r>
            <a:r>
              <a:rPr lang="fr-CH" sz="1000" b="0" i="0" dirty="0" err="1" smtClean="0"/>
              <a:t>Fragen</a:t>
            </a:r>
            <a:r>
              <a:rPr lang="fr-CH" sz="1000" b="0" i="0" dirty="0" smtClean="0"/>
              <a:t> </a:t>
            </a:r>
            <a:r>
              <a:rPr lang="fr-CH" sz="1000" b="1" i="0" dirty="0" smtClean="0"/>
              <a:t>DBF</a:t>
            </a:r>
            <a:endParaRPr lang="fr-CH" sz="1000" b="0" i="0" dirty="0" smtClean="0"/>
          </a:p>
        </p:txBody>
      </p:sp>
      <p:cxnSp>
        <p:nvCxnSpPr>
          <p:cNvPr id="8" name="Straight Connector 7"/>
          <p:cNvCxnSpPr/>
          <p:nvPr userDrawn="1">
            <p:custDataLst>
              <p:tags r:id="rId5"/>
            </p:custDataLst>
          </p:nvPr>
        </p:nvCxnSpPr>
        <p:spPr>
          <a:xfrm>
            <a:off x="449263" y="12636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036" name="Title Placeholder 1"/>
          <p:cNvSpPr>
            <a:spLocks noGrp="1"/>
          </p:cNvSpPr>
          <p:nvPr>
            <p:ph type="ctrTitle"/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CH" dirty="0" smtClean="0"/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/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FR" smtClean="0"/>
              <a:t>Modifier le style des sous-titres du masque</a:t>
            </a:r>
            <a:endParaRPr lang="fr-CH" dirty="0" smtClean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9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5CC42FD-4A5E-4F47-A08D-AF72A65FAE62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64593934-EB73-4A9E-BB30-3CB60237584F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9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9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e image</a:t>
            </a:r>
            <a:endParaRPr lang="fr-CH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e image</a:t>
            </a:r>
            <a:endParaRPr lang="en-US" noProof="0" dirty="0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e imag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1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14207A8-D35D-4BB2-837A-64DB15AF406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4D42FB62-806F-48DB-BAD6-5AFD1E78CD8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0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1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407920"/>
            <a:ext cx="8242300" cy="1846659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3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0221FC23-268D-4B34-816B-5926450DAF7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9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46A3589F-A711-4115-9E27-3F231F3A0BD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31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3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260000" cy="153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03218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032186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363702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3363702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69521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9521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6026733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6026733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35824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35824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6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1C4B4A13-7231-4BEB-89BD-9FF1B0A07F9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6503D847-A163-4E0C-BBCD-0B11BC312B2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6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519237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230723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230723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3929319" y="2373243"/>
            <a:ext cx="144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929319" y="3113577"/>
            <a:ext cx="144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479402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5479402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10148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10148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8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AE2447D5-6012-42FA-A634-EF01D54C7DB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0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E40BA4EF-5A79-4945-9984-4D373C87AA3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4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8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872000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2683200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684244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685288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2683200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684244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685288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1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38EDB024-0744-4E27-A73A-FB09B9265834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4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A038240B-C92D-4EC4-8CF3-8B6506CEA99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7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1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2592000" cy="9233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3383379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3383379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047204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047204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3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93B917E-A7C9-45AB-AE4F-5CD6B8A1F2C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3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Service du personnel et d’organisation </a:t>
            </a: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SPO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D8D2A0B6-06DE-4C53-A47B-8556DCCC1B4D}" type="datetime4">
              <a:rPr lang="fr-FR" sz="100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6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3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403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4032000" cy="6155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4714876" y="2373243"/>
            <a:ext cx="38608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4714876" y="3113577"/>
            <a:ext cx="38608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5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79E6CB92-D46F-41CE-9675-29AF1C5CC889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3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7365E066-5BF7-4B23-88A1-E71D0D8A36B5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5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126400"/>
            <a:ext cx="2386012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57199" y="2492375"/>
            <a:ext cx="2386013" cy="49244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965451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965450" y="1766400"/>
            <a:ext cx="2320930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9211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8736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83247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786564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745412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9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C0CE34FB-1030-4B4F-B5FF-E6D47255D8CF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4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CEB80A34-19EA-4D5D-A640-FE428E005B7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6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9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2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BB672B7-96CD-4763-B410-B6A57B6E157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6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342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ts val="1345"/>
              </a:lnSpc>
              <a:spcBef>
                <a:spcPct val="0"/>
              </a:spcBef>
              <a:spcAft>
                <a:spcPts val="0"/>
              </a:spcAft>
              <a:buClr>
                <a:srgbClr val="074EA1"/>
              </a:buClr>
              <a:buSzTx/>
              <a:buFontTx/>
              <a:buNone/>
              <a:tabLst/>
              <a:defRPr/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EF7F05F7-3E65-4813-BBAA-64C09C236420}" type="datetime4">
              <a:rPr lang="fr-FR" sz="100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8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2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4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63031CF4-6012-4E47-B896-DA0102BA4466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78DB0318-5A44-4B79-8DCE-A3B67BD17456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1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4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7141"/>
            <a:ext cx="8242300" cy="1846659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8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7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410BE1C-61D8-4199-834D-4E3CFD41A19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337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8D82FEAD-BA62-4350-B9A4-22FF4E9B8038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1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7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266800"/>
            <a:ext cx="8242300" cy="1846659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8240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9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52E0320-80E4-4134-855D-57A764251BBD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33EFAB4F-DF75-4B81-AF99-A29062CCF60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9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5067299" y="1858223"/>
            <a:ext cx="3632201" cy="307777"/>
          </a:xfrm>
        </p:spPr>
        <p:txBody>
          <a:bodyPr/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/>
          </p:nvPr>
        </p:nvSpPr>
        <p:spPr>
          <a:xfrm>
            <a:off x="457200" y="1858223"/>
            <a:ext cx="36324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</p:nvPr>
        </p:nvSpPr>
        <p:spPr>
          <a:xfrm>
            <a:off x="457200" y="2221364"/>
            <a:ext cx="363240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</p:nvPr>
        </p:nvSpPr>
        <p:spPr>
          <a:xfrm>
            <a:off x="5067299" y="2221364"/>
            <a:ext cx="3632201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1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FEE9DF2-5A33-4369-9F67-FAD1ACE7EEC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F92E1955-87A7-4AAE-AF79-EA5B62E259D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1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457200" y="1328400"/>
            <a:ext cx="820324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457200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</p:nvPr>
        </p:nvSpPr>
        <p:spPr>
          <a:xfrm>
            <a:off x="4979988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4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FC22EE1-D8D8-49D4-BF92-C110A9056A15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6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80FC7961-F641-4FAC-9BFA-9F969ACC52F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8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4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/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/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/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6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50C974B1-BC47-4363-AFBE-D3D7A9A9843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1154ED4B-527E-4255-897E-950073BA247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3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6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e image</a:t>
            </a:r>
            <a:endParaRPr lang="fr-CH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6400"/>
            <a:ext cx="4186238" cy="2154436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418623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" name="think-cell Slide" r:id="rId27" imgW="0" imgH="0" progId="">
                  <p:embed/>
                </p:oleObj>
              </mc:Choice>
              <mc:Fallback>
                <p:oleObj name="think-cell Slide" r:id="rId2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457200" y="306388"/>
            <a:ext cx="8242300" cy="95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smtClean="0"/>
              <a:t>Titre exemple</a:t>
            </a:r>
            <a:br>
              <a:rPr lang="fr-CH" smtClean="0"/>
            </a:br>
            <a:r>
              <a:rPr lang="fr-CH" smtClean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smtClean="0"/>
              <a:t>Texte principal</a:t>
            </a:r>
          </a:p>
          <a:p>
            <a:pPr lvl="1"/>
            <a:r>
              <a:rPr lang="fr-CH" smtClean="0"/>
              <a:t>Premier niveau</a:t>
            </a:r>
          </a:p>
          <a:p>
            <a:pPr lvl="2"/>
            <a:r>
              <a:rPr lang="fr-CH" smtClean="0"/>
              <a:t>Deuxième niveau</a:t>
            </a:r>
          </a:p>
          <a:p>
            <a:pPr lvl="3"/>
            <a:r>
              <a:rPr lang="fr-CH" smtClean="0"/>
              <a:t>Troisième niveau</a:t>
            </a:r>
          </a:p>
          <a:p>
            <a:pPr lvl="4"/>
            <a:r>
              <a:rPr lang="fr-CH" smtClean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6B27B2B-C0FF-48E7-AAE0-A647F486645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 smtClean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31" name="Picture 8" descr="logo_etat_FR_vers_compacte.jpg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25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s Exemples </a:t>
            </a:r>
            <a:r>
              <a:rPr lang="fr-CH" sz="1000" b="0" i="0" dirty="0" err="1" smtClean="0"/>
              <a:t>SdE</a:t>
            </a:r>
            <a:endParaRPr lang="fr-CH" sz="1000" b="0" i="0" dirty="0" smtClean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CF243335-9A5D-44D4-B713-78A3870BA20B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23 mars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6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6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marL="342900" indent="-342900"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22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25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26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3" name="Titel 1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455613" y="1547813"/>
            <a:ext cx="8289925" cy="4270400"/>
          </a:xfrm>
        </p:spPr>
        <p:txBody>
          <a:bodyPr/>
          <a:lstStyle/>
          <a:p>
            <a:r>
              <a:rPr lang="fr-CH" dirty="0" smtClean="0">
                <a:latin typeface="Arial" pitchFamily="34" charset="0"/>
                <a:ea typeface="ＭＳ Ｐゴシック"/>
                <a:cs typeface="ＭＳ Ｐゴシック"/>
              </a:rPr>
              <a:t>HERMES EXPRESS</a:t>
            </a:r>
            <a:r>
              <a:rPr lang="fr-CH" dirty="0">
                <a:latin typeface="Arial" pitchFamily="34" charset="0"/>
                <a:ea typeface="ＭＳ Ｐゴシック"/>
                <a:cs typeface="ＭＳ Ｐゴシック"/>
              </a:rPr>
              <a:t/>
            </a:r>
            <a:br>
              <a:rPr lang="fr-CH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dirty="0">
                <a:latin typeface="Arial" pitchFamily="34" charset="0"/>
                <a:ea typeface="ＭＳ Ｐゴシック"/>
                <a:cs typeface="ＭＳ Ｐゴシック"/>
              </a:rPr>
              <a:t/>
            </a:r>
            <a:br>
              <a:rPr lang="fr-CH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dirty="0" smtClean="0">
                <a:latin typeface="Arial" pitchFamily="34" charset="0"/>
                <a:ea typeface="ＭＳ Ｐゴシック"/>
                <a:cs typeface="ＭＳ Ｐゴシック"/>
              </a:rPr>
              <a:t>—</a:t>
            </a:r>
            <a:br>
              <a:rPr lang="fr-CH" dirty="0" smtClean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400" dirty="0" smtClean="0">
                <a:solidFill>
                  <a:srgbClr val="008094"/>
                </a:solidFill>
                <a:cs typeface="Arial" panose="020B0604020202020204" pitchFamily="34" charset="0"/>
              </a:rPr>
              <a:t>Appréciation finale du projet </a:t>
            </a:r>
            <a:r>
              <a:rPr lang="fr-CH" sz="1800" b="0" i="1" dirty="0" smtClean="0">
                <a:solidFill>
                  <a:srgbClr val="008094"/>
                </a:solidFill>
                <a:cs typeface="Arial" panose="020B0604020202020204" pitchFamily="34" charset="0"/>
              </a:rPr>
              <a:t>indiquer le nom de la phase</a:t>
            </a:r>
            <a:br>
              <a:rPr lang="fr-CH" sz="1800" b="0" i="1" dirty="0" smtClean="0">
                <a:solidFill>
                  <a:srgbClr val="008094"/>
                </a:solidFill>
                <a:cs typeface="Arial" panose="020B0604020202020204" pitchFamily="34" charset="0"/>
              </a:rPr>
            </a:br>
            <a:r>
              <a:rPr lang="fr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/>
            </a:r>
            <a:br>
              <a:rPr lang="fr-CH" sz="1800" b="0" i="1" dirty="0">
                <a:solidFill>
                  <a:srgbClr val="008094"/>
                </a:solidFill>
                <a:cs typeface="Arial" panose="020B0604020202020204" pitchFamily="34" charset="0"/>
              </a:rPr>
            </a:br>
            <a:r>
              <a:rPr lang="fr-CH" sz="1800" b="0" i="1" dirty="0" smtClean="0">
                <a:solidFill>
                  <a:srgbClr val="008094"/>
                </a:solidFill>
                <a:cs typeface="Arial" panose="020B0604020202020204" pitchFamily="34" charset="0"/>
              </a:rPr>
              <a:t>PROJET : </a:t>
            </a:r>
            <a:r>
              <a:rPr lang="fr-CH" sz="1800" b="0" i="1" dirty="0" smtClean="0">
                <a:solidFill>
                  <a:srgbClr val="008094"/>
                </a:solidFill>
                <a:cs typeface="Arial" panose="020B0604020202020204" pitchFamily="34" charset="0"/>
              </a:rPr>
              <a:t>				indiquer le nom du projet</a:t>
            </a:r>
            <a:br>
              <a:rPr lang="fr-CH" sz="1800" b="0" i="1" dirty="0" smtClean="0">
                <a:solidFill>
                  <a:srgbClr val="008094"/>
                </a:solidFill>
                <a:cs typeface="Arial" panose="020B0604020202020204" pitchFamily="34" charset="0"/>
              </a:rPr>
            </a:br>
            <a:r>
              <a:rPr lang="fr-CH" sz="1800" b="0" i="1" dirty="0" smtClean="0">
                <a:solidFill>
                  <a:srgbClr val="008094"/>
                </a:solidFill>
                <a:cs typeface="Arial" panose="020B0604020202020204" pitchFamily="34" charset="0"/>
              </a:rPr>
              <a:t>MANDANT-E	:			indiquer le nom du / de la </a:t>
            </a:r>
            <a:r>
              <a:rPr lang="fr-CH" sz="1800" b="0" i="1" dirty="0" err="1" smtClean="0">
                <a:solidFill>
                  <a:srgbClr val="008094"/>
                </a:solidFill>
                <a:cs typeface="Arial" panose="020B0604020202020204" pitchFamily="34" charset="0"/>
              </a:rPr>
              <a:t>mandant-e</a:t>
            </a:r>
            <a:r>
              <a:rPr lang="fr-CH" sz="1800" b="0" i="1" dirty="0" smtClean="0">
                <a:solidFill>
                  <a:srgbClr val="008094"/>
                </a:solidFill>
                <a:cs typeface="Arial" panose="020B0604020202020204" pitchFamily="34" charset="0"/>
              </a:rPr>
              <a:t/>
            </a:r>
            <a:br>
              <a:rPr lang="fr-CH" sz="1800" b="0" i="1" dirty="0" smtClean="0">
                <a:solidFill>
                  <a:srgbClr val="008094"/>
                </a:solidFill>
                <a:cs typeface="Arial" panose="020B0604020202020204" pitchFamily="34" charset="0"/>
              </a:rPr>
            </a:br>
            <a:r>
              <a:rPr lang="fr-CH" sz="1800" b="0" i="1" dirty="0" smtClean="0">
                <a:solidFill>
                  <a:srgbClr val="008094"/>
                </a:solidFill>
                <a:cs typeface="Arial" panose="020B0604020202020204" pitchFamily="34" charset="0"/>
              </a:rPr>
              <a:t>CHEF-FE </a:t>
            </a:r>
            <a:r>
              <a:rPr lang="fr-CH" sz="1800" b="0" i="1" smtClean="0">
                <a:solidFill>
                  <a:srgbClr val="008094"/>
                </a:solidFill>
                <a:cs typeface="Arial" panose="020B0604020202020204" pitchFamily="34" charset="0"/>
              </a:rPr>
              <a:t>DE </a:t>
            </a:r>
            <a:r>
              <a:rPr lang="fr-CH" sz="1800" b="0" i="1" smtClean="0">
                <a:solidFill>
                  <a:srgbClr val="008094"/>
                </a:solidFill>
                <a:cs typeface="Arial" panose="020B0604020202020204" pitchFamily="34" charset="0"/>
              </a:rPr>
              <a:t>PROJET :</a:t>
            </a:r>
            <a:r>
              <a:rPr lang="fr-CH" sz="1800" b="0" i="1" dirty="0" smtClean="0">
                <a:solidFill>
                  <a:srgbClr val="008094"/>
                </a:solidFill>
                <a:cs typeface="Arial" panose="020B0604020202020204" pitchFamily="34" charset="0"/>
              </a:rPr>
              <a:t>	indiquer le nom du / de la </a:t>
            </a:r>
            <a:r>
              <a:rPr lang="fr-CH" sz="1800" b="0" i="1" dirty="0" err="1" smtClean="0">
                <a:solidFill>
                  <a:srgbClr val="008094"/>
                </a:solidFill>
                <a:cs typeface="Arial" panose="020B0604020202020204" pitchFamily="34" charset="0"/>
              </a:rPr>
              <a:t>chef-fe</a:t>
            </a:r>
            <a:r>
              <a:rPr lang="fr-CH" sz="1800" b="0" i="1" dirty="0" smtClean="0">
                <a:solidFill>
                  <a:srgbClr val="008094"/>
                </a:solidFill>
                <a:cs typeface="Arial" panose="020B0604020202020204" pitchFamily="34" charset="0"/>
              </a:rPr>
              <a:t> de projet</a:t>
            </a:r>
            <a:r>
              <a:rPr lang="fr-CH" sz="2800" dirty="0">
                <a:solidFill>
                  <a:srgbClr val="008094"/>
                </a:solidFill>
                <a:cs typeface="Arial" panose="020B0604020202020204" pitchFamily="34" charset="0"/>
              </a:rPr>
              <a:t/>
            </a:r>
            <a:br>
              <a:rPr lang="fr-CH" sz="2800" dirty="0">
                <a:solidFill>
                  <a:srgbClr val="008094"/>
                </a:solidFill>
                <a:cs typeface="Arial" panose="020B0604020202020204" pitchFamily="34" charset="0"/>
              </a:rPr>
            </a:br>
            <a:endParaRPr lang="fr-CH" sz="2800" dirty="0">
              <a:solidFill>
                <a:srgbClr val="008094"/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1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2200" dirty="0" smtClean="0">
                <a:cs typeface="Arial" panose="020B0604020202020204" pitchFamily="34" charset="0"/>
              </a:rPr>
              <a:t>Situation de départ</a:t>
            </a: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/>
            </a:r>
            <a:b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8513549" cy="24365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 smtClean="0">
                <a:solidFill>
                  <a:srgbClr val="008094"/>
                </a:solidFill>
              </a:rPr>
              <a:t>Résumer le contexte du projet et la situation </a:t>
            </a:r>
            <a:r>
              <a:rPr lang="fr-CH" sz="1400" dirty="0" smtClean="0">
                <a:solidFill>
                  <a:srgbClr val="008094"/>
                </a:solidFill>
              </a:rPr>
              <a:t>que vous cherchez </a:t>
            </a:r>
            <a:r>
              <a:rPr lang="fr-CH" sz="1400" dirty="0" smtClean="0">
                <a:solidFill>
                  <a:srgbClr val="008094"/>
                </a:solidFill>
              </a:rPr>
              <a:t>à faire évoluer avec le lancement du projet.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  <a:r>
              <a:rPr lang="fr-CH" sz="18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75398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2200" dirty="0" smtClean="0">
                <a:cs typeface="Arial" panose="020B0604020202020204" pitchFamily="34" charset="0"/>
              </a:rPr>
              <a:t>Atteintes des objectifs</a:t>
            </a: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/>
            </a:r>
            <a:b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6586740" cy="56425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 smtClean="0">
                <a:solidFill>
                  <a:srgbClr val="008094"/>
                </a:solidFill>
              </a:rPr>
              <a:t>Copier / coller le tableau d’objectifs fixés dans le mandat de projet.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 smtClean="0">
                <a:solidFill>
                  <a:srgbClr val="008094"/>
                </a:solidFill>
              </a:rPr>
              <a:t>Evaluer l’atteinte des objectifs (en % par exemple) et expliquer les éventuels écarts.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  <a:r>
              <a:rPr lang="fr-CH" sz="18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6497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7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2200" dirty="0" smtClean="0">
                <a:cs typeface="Arial" panose="020B0604020202020204" pitchFamily="34" charset="0"/>
              </a:rPr>
              <a:t>Comparaison plan / état - délais</a:t>
            </a: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/>
            </a:r>
            <a:b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5900654" cy="56425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 smtClean="0">
                <a:solidFill>
                  <a:srgbClr val="008094"/>
                </a:solidFill>
              </a:rPr>
              <a:t>Comparer les délais des phases planifiées et les délais des phases </a:t>
            </a:r>
            <a:r>
              <a:rPr lang="fr-CH" sz="1400" dirty="0" smtClean="0">
                <a:solidFill>
                  <a:srgbClr val="008094"/>
                </a:solidFill>
              </a:rPr>
              <a:t>réelles.</a:t>
            </a:r>
            <a:endParaRPr lang="fr-CH" sz="1400" dirty="0" smtClean="0">
              <a:solidFill>
                <a:srgbClr val="008094"/>
              </a:solidFill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 smtClean="0">
                <a:solidFill>
                  <a:srgbClr val="008094"/>
                </a:solidFill>
              </a:rPr>
              <a:t>Expliquer les éventuels </a:t>
            </a:r>
            <a:r>
              <a:rPr lang="fr-CH" sz="1400" dirty="0" smtClean="0">
                <a:solidFill>
                  <a:srgbClr val="008094"/>
                </a:solidFill>
              </a:rPr>
              <a:t>écarts.</a:t>
            </a:r>
            <a:endParaRPr lang="fr-CH" sz="1400" dirty="0" smtClean="0">
              <a:solidFill>
                <a:srgbClr val="008094"/>
              </a:solidFill>
            </a:endParaRP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  <a:r>
              <a:rPr lang="fr-CH" sz="18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5420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0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2200" dirty="0" smtClean="0">
                <a:cs typeface="Arial" panose="020B0604020202020204" pitchFamily="34" charset="0"/>
              </a:rPr>
              <a:t>Comparaison plan / état - coûts</a:t>
            </a: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/>
            </a:r>
            <a:b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6445675" cy="56425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 smtClean="0">
                <a:solidFill>
                  <a:srgbClr val="008094"/>
                </a:solidFill>
              </a:rPr>
              <a:t>Copier / coller le budget final comprenant le budget </a:t>
            </a:r>
            <a:r>
              <a:rPr lang="fr-CH" sz="1400" dirty="0" smtClean="0">
                <a:solidFill>
                  <a:srgbClr val="008094"/>
                </a:solidFill>
              </a:rPr>
              <a:t>prévisionnel et les </a:t>
            </a:r>
            <a:r>
              <a:rPr lang="fr-CH" sz="1400" dirty="0" smtClean="0">
                <a:solidFill>
                  <a:srgbClr val="008094"/>
                </a:solidFill>
              </a:rPr>
              <a:t>coûts </a:t>
            </a:r>
            <a:r>
              <a:rPr lang="fr-CH" sz="1400" dirty="0" smtClean="0">
                <a:solidFill>
                  <a:srgbClr val="008094"/>
                </a:solidFill>
              </a:rPr>
              <a:t>réels.</a:t>
            </a:r>
            <a:endParaRPr lang="fr-CH" sz="1400" dirty="0" smtClean="0">
              <a:solidFill>
                <a:srgbClr val="008094"/>
              </a:solidFill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 smtClean="0">
                <a:solidFill>
                  <a:srgbClr val="008094"/>
                </a:solidFill>
              </a:rPr>
              <a:t>Expliquer les éventuels </a:t>
            </a:r>
            <a:r>
              <a:rPr lang="fr-CH" sz="1400" dirty="0" smtClean="0">
                <a:solidFill>
                  <a:srgbClr val="008094"/>
                </a:solidFill>
              </a:rPr>
              <a:t>écarts.</a:t>
            </a:r>
            <a:endParaRPr lang="fr-CH" sz="1400" dirty="0" smtClean="0">
              <a:solidFill>
                <a:srgbClr val="008094"/>
              </a:solidFill>
            </a:endParaRP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  <a:r>
              <a:rPr lang="fr-CH" sz="18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1524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2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2200" dirty="0" smtClean="0">
                <a:cs typeface="Arial" panose="020B0604020202020204" pitchFamily="34" charset="0"/>
              </a:rPr>
              <a:t>Points en suspens et mesures</a:t>
            </a: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/>
            </a:r>
            <a:b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7643192" cy="4672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400" dirty="0" smtClean="0">
                <a:solidFill>
                  <a:srgbClr val="008094"/>
                </a:solidFill>
              </a:rPr>
              <a:t>Lister les points en suspens ou les points de vigilance qui devront être suivis par l’organisation permanente une fois le projet clos. 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 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 smtClean="0"/>
              <a:t>&gt;</a:t>
            </a:r>
          </a:p>
          <a:p>
            <a:pPr marL="0" lvl="0" indent="0">
              <a:buClrTx/>
            </a:pPr>
            <a:r>
              <a:rPr lang="fr-CH" sz="1800" dirty="0"/>
              <a:t>&gt;</a:t>
            </a:r>
            <a:r>
              <a:rPr lang="fr-CH" sz="18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59948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4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2200" dirty="0" smtClean="0">
                <a:cs typeface="Arial" panose="020B0604020202020204" pitchFamily="34" charset="0"/>
              </a:rPr>
              <a:t>Clôture et libération</a:t>
            </a: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/>
            </a:r>
            <a:b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422328" y="2481089"/>
            <a:ext cx="7643192" cy="11285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b="1" dirty="0" smtClean="0"/>
              <a:t>Ce rapport clôture officiellement le projet </a:t>
            </a:r>
            <a:r>
              <a:rPr lang="fr-CH" sz="1800" dirty="0" smtClean="0">
                <a:solidFill>
                  <a:srgbClr val="008094"/>
                </a:solidFill>
              </a:rPr>
              <a:t>insérer le nom du projet.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dirty="0">
              <a:solidFill>
                <a:srgbClr val="008094"/>
              </a:solidFill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dirty="0" smtClean="0"/>
              <a:t>Dès validation de ce document par </a:t>
            </a:r>
            <a:r>
              <a:rPr lang="fr-CH" sz="1800" dirty="0" err="1" smtClean="0"/>
              <a:t>le-la</a:t>
            </a:r>
            <a:r>
              <a:rPr lang="fr-CH" sz="1800" dirty="0" smtClean="0"/>
              <a:t> </a:t>
            </a:r>
            <a:r>
              <a:rPr lang="fr-CH" sz="1800" dirty="0" err="1" smtClean="0"/>
              <a:t>mandant-e</a:t>
            </a:r>
            <a:r>
              <a:rPr lang="fr-CH" sz="1800" dirty="0" smtClean="0"/>
              <a:t>, </a:t>
            </a:r>
            <a:r>
              <a:rPr lang="fr-CH" sz="1800" dirty="0" smtClean="0"/>
              <a:t>l’organisation du projet sera libérée de sa mission et dissoute.</a:t>
            </a:r>
          </a:p>
        </p:txBody>
      </p:sp>
    </p:spTree>
    <p:extLst>
      <p:ext uri="{BB962C8B-B14F-4D97-AF65-F5344CB8AC3E}">
        <p14:creationId xmlns:p14="http://schemas.microsoft.com/office/powerpoint/2010/main" val="204669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7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sz="2200" dirty="0" smtClean="0">
                <a:cs typeface="Arial" panose="020B0604020202020204" pitchFamily="34" charset="0"/>
              </a:rPr>
              <a:t>Validation</a:t>
            </a: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/>
            </a:r>
            <a:b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 smtClean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422328" y="2481089"/>
            <a:ext cx="8614168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b="1" dirty="0" smtClean="0"/>
              <a:t>Fribourg</a:t>
            </a:r>
            <a:r>
              <a:rPr lang="fr-CH" sz="1800" dirty="0" smtClean="0">
                <a:solidFill>
                  <a:srgbClr val="008094"/>
                </a:solidFill>
              </a:rPr>
              <a:t> </a:t>
            </a:r>
            <a:r>
              <a:rPr lang="fr-CH" sz="1800" b="1" dirty="0" smtClean="0"/>
              <a:t>le, </a:t>
            </a:r>
            <a:r>
              <a:rPr lang="fr-CH" sz="1800" dirty="0" smtClean="0">
                <a:solidFill>
                  <a:srgbClr val="008094"/>
                </a:solidFill>
              </a:rPr>
              <a:t>date de validation</a:t>
            </a:r>
            <a:endParaRPr lang="fr-CH" sz="18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23528" y="3952056"/>
            <a:ext cx="2349472" cy="656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dirty="0" err="1" smtClean="0"/>
              <a:t>Mandant-e</a:t>
            </a:r>
            <a:endParaRPr lang="fr-CH" sz="1800" dirty="0" smtClean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dirty="0" smtClean="0">
                <a:solidFill>
                  <a:srgbClr val="008094"/>
                </a:solidFill>
              </a:rPr>
              <a:t>Nom, prénom, titre</a:t>
            </a:r>
            <a:endParaRPr lang="fr-CH" sz="1800" dirty="0">
              <a:solidFill>
                <a:srgbClr val="008094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851920" y="3957754"/>
            <a:ext cx="5292080" cy="9771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dirty="0" err="1" smtClean="0"/>
              <a:t>Chef-fe</a:t>
            </a:r>
            <a:r>
              <a:rPr lang="fr-CH" sz="1800" dirty="0" smtClean="0"/>
              <a:t> de projet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dirty="0">
                <a:solidFill>
                  <a:srgbClr val="008094"/>
                </a:solidFill>
              </a:rPr>
              <a:t>Nom, prénom, titre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dirty="0"/>
          </a:p>
        </p:txBody>
      </p:sp>
      <p:sp>
        <p:nvSpPr>
          <p:cNvPr id="7" name="Rectangle 6"/>
          <p:cNvSpPr/>
          <p:nvPr/>
        </p:nvSpPr>
        <p:spPr>
          <a:xfrm>
            <a:off x="323528" y="3321093"/>
            <a:ext cx="2349472" cy="335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i="1" dirty="0" smtClean="0">
                <a:solidFill>
                  <a:srgbClr val="008094"/>
                </a:solidFill>
              </a:rPr>
              <a:t>Signature</a:t>
            </a:r>
            <a:endParaRPr lang="fr-CH" sz="1800" i="1" dirty="0">
              <a:solidFill>
                <a:srgbClr val="008094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851920" y="3321092"/>
            <a:ext cx="2349472" cy="335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i="1" dirty="0" smtClean="0">
                <a:solidFill>
                  <a:srgbClr val="008094"/>
                </a:solidFill>
              </a:rPr>
              <a:t>Signature</a:t>
            </a:r>
            <a:endParaRPr lang="fr-CH" sz="1800" i="1" dirty="0">
              <a:solidFill>
                <a:srgbClr val="0080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488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heme/theme1.xml><?xml version="1.0" encoding="utf-8"?>
<a:theme xmlns:a="http://schemas.openxmlformats.org/drawingml/2006/main" name="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Powerpoint_SPO_nouveau_logo</Template>
  <TotalTime>0</TotalTime>
  <Words>324</Words>
  <Application>Microsoft Office PowerPoint</Application>
  <PresentationFormat>Affichage à l'écran (4:3)</PresentationFormat>
  <Paragraphs>84</Paragraphs>
  <Slides>8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4" baseType="lpstr">
      <vt:lpstr>ＭＳ Ｐゴシック</vt:lpstr>
      <vt:lpstr>Arial</vt:lpstr>
      <vt:lpstr>Calibri</vt:lpstr>
      <vt:lpstr>Lucida Grande</vt:lpstr>
      <vt:lpstr>pp_etat_de_fribourg</vt:lpstr>
      <vt:lpstr>think-cell Slide</vt:lpstr>
      <vt:lpstr>HERMES EXPRESS  — Appréciation finale du projet indiquer le nom de la phase  PROJET :     indiquer le nom du projet MANDANT-E :   indiquer le nom du / de la mandant-e CHEF-FE DE PROJET : indiquer le nom du / de la chef-fe de projet </vt:lpstr>
      <vt:lpstr>Situation de départ —</vt:lpstr>
      <vt:lpstr>Atteintes des objectifs —</vt:lpstr>
      <vt:lpstr>Comparaison plan / état - délais —</vt:lpstr>
      <vt:lpstr>Comparaison plan / état - coûts —</vt:lpstr>
      <vt:lpstr>Points en suspens et mesures —</vt:lpstr>
      <vt:lpstr>Clôture et libération —</vt:lpstr>
      <vt:lpstr>Validation —</vt:lpstr>
    </vt:vector>
  </TitlesOfParts>
  <Company>Etat de Fribo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t Politique RH Axes stratégiques —</dc:title>
  <dc:creator>Gelmi Nicolas</dc:creator>
  <cp:lastModifiedBy>Dupuy Angélique</cp:lastModifiedBy>
  <cp:revision>259</cp:revision>
  <cp:lastPrinted>2010-03-18T08:00:30Z</cp:lastPrinted>
  <dcterms:created xsi:type="dcterms:W3CDTF">2019-07-10T10:26:45Z</dcterms:created>
  <dcterms:modified xsi:type="dcterms:W3CDTF">2021-03-23T10:05:35Z</dcterms:modified>
</cp:coreProperties>
</file>